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tags/tag75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7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824" r:id="rId5"/>
    <p:sldMasterId id="2147483891" r:id="rId6"/>
    <p:sldMasterId id="2147483894" r:id="rId7"/>
    <p:sldMasterId id="2147483895" r:id="rId8"/>
    <p:sldMasterId id="2147483896" r:id="rId9"/>
    <p:sldMasterId id="2147483899" r:id="rId10"/>
  </p:sldMasterIdLst>
  <p:notesMasterIdLst>
    <p:notesMasterId r:id="rId12"/>
  </p:notesMasterIdLst>
  <p:handoutMasterIdLst>
    <p:handoutMasterId r:id="rId13"/>
  </p:handoutMasterIdLst>
  <p:sldIdLst>
    <p:sldId id="258" r:id="rId11"/>
  </p:sldIdLst>
  <p:sldSz cx="10080625" cy="7561263"/>
  <p:notesSz cx="6858000" cy="9144000"/>
  <p:custDataLst>
    <p:tags r:id="rId14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8C8"/>
    <a:srgbClr val="8547AD"/>
    <a:srgbClr val="33006F"/>
    <a:srgbClr val="FB3449"/>
    <a:srgbClr val="0099A8"/>
    <a:srgbClr val="FFFFFF"/>
    <a:srgbClr val="EA576C"/>
    <a:srgbClr val="DFDEDE"/>
    <a:srgbClr val="8A8A8D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8926" autoAdjust="0"/>
  </p:normalViewPr>
  <p:slideViewPr>
    <p:cSldViewPr snapToGrid="0">
      <p:cViewPr varScale="1">
        <p:scale>
          <a:sx n="69" d="100"/>
          <a:sy n="69" d="100"/>
        </p:scale>
        <p:origin x="84" y="82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7" Type="http://schemas.openxmlformats.org/officeDocument/2006/relationships/slideMaster" Target="slideMasters/slideMaster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9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13" Type="http://schemas.openxmlformats.org/officeDocument/2006/relationships/image" Target="../media/image15.emf"/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12" Type="http://schemas.openxmlformats.org/officeDocument/2006/relationships/image" Target="../media/image14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8.emf"/><Relationship Id="rId11" Type="http://schemas.openxmlformats.org/officeDocument/2006/relationships/image" Target="../media/image13.emf"/><Relationship Id="rId5" Type="http://schemas.openxmlformats.org/officeDocument/2006/relationships/image" Target="../media/image7.emf"/><Relationship Id="rId10" Type="http://schemas.openxmlformats.org/officeDocument/2006/relationships/image" Target="../media/image12.emf"/><Relationship Id="rId4" Type="http://schemas.openxmlformats.org/officeDocument/2006/relationships/image" Target="../media/image6.emf"/><Relationship Id="rId9" Type="http://schemas.openxmlformats.org/officeDocument/2006/relationships/image" Target="../media/image1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27.emf"/><Relationship Id="rId18" Type="http://schemas.openxmlformats.org/officeDocument/2006/relationships/image" Target="../media/image32.emf"/><Relationship Id="rId3" Type="http://schemas.openxmlformats.org/officeDocument/2006/relationships/image" Target="../media/image17.emf"/><Relationship Id="rId7" Type="http://schemas.openxmlformats.org/officeDocument/2006/relationships/image" Target="../media/image21.emf"/><Relationship Id="rId12" Type="http://schemas.openxmlformats.org/officeDocument/2006/relationships/image" Target="../media/image26.emf"/><Relationship Id="rId17" Type="http://schemas.openxmlformats.org/officeDocument/2006/relationships/image" Target="../media/image31.emf"/><Relationship Id="rId2" Type="http://schemas.openxmlformats.org/officeDocument/2006/relationships/image" Target="../media/image16.emf"/><Relationship Id="rId16" Type="http://schemas.openxmlformats.org/officeDocument/2006/relationships/image" Target="../media/image30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0.emf"/><Relationship Id="rId11" Type="http://schemas.openxmlformats.org/officeDocument/2006/relationships/image" Target="../media/image25.emf"/><Relationship Id="rId5" Type="http://schemas.openxmlformats.org/officeDocument/2006/relationships/image" Target="../media/image19.emf"/><Relationship Id="rId15" Type="http://schemas.openxmlformats.org/officeDocument/2006/relationships/image" Target="../media/image29.emf"/><Relationship Id="rId10" Type="http://schemas.openxmlformats.org/officeDocument/2006/relationships/image" Target="../media/image24.emf"/><Relationship Id="rId4" Type="http://schemas.openxmlformats.org/officeDocument/2006/relationships/image" Target="../media/image18.emf"/><Relationship Id="rId9" Type="http://schemas.openxmlformats.org/officeDocument/2006/relationships/image" Target="../media/image23.emf"/><Relationship Id="rId14" Type="http://schemas.openxmlformats.org/officeDocument/2006/relationships/image" Target="../media/image28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13" Type="http://schemas.openxmlformats.org/officeDocument/2006/relationships/image" Target="../media/image44.emf"/><Relationship Id="rId3" Type="http://schemas.openxmlformats.org/officeDocument/2006/relationships/image" Target="../media/image34.emf"/><Relationship Id="rId7" Type="http://schemas.openxmlformats.org/officeDocument/2006/relationships/image" Target="../media/image38.emf"/><Relationship Id="rId12" Type="http://schemas.openxmlformats.org/officeDocument/2006/relationships/image" Target="../media/image43.emf"/><Relationship Id="rId17" Type="http://schemas.openxmlformats.org/officeDocument/2006/relationships/image" Target="../media/image48.emf"/><Relationship Id="rId2" Type="http://schemas.openxmlformats.org/officeDocument/2006/relationships/image" Target="../media/image33.emf"/><Relationship Id="rId16" Type="http://schemas.openxmlformats.org/officeDocument/2006/relationships/image" Target="../media/image47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7.emf"/><Relationship Id="rId11" Type="http://schemas.openxmlformats.org/officeDocument/2006/relationships/image" Target="../media/image42.emf"/><Relationship Id="rId5" Type="http://schemas.openxmlformats.org/officeDocument/2006/relationships/image" Target="../media/image36.emf"/><Relationship Id="rId15" Type="http://schemas.openxmlformats.org/officeDocument/2006/relationships/image" Target="../media/image46.emf"/><Relationship Id="rId10" Type="http://schemas.openxmlformats.org/officeDocument/2006/relationships/image" Target="../media/image41.emf"/><Relationship Id="rId4" Type="http://schemas.openxmlformats.org/officeDocument/2006/relationships/image" Target="../media/image35.emf"/><Relationship Id="rId9" Type="http://schemas.openxmlformats.org/officeDocument/2006/relationships/image" Target="../media/image40.emf"/><Relationship Id="rId14" Type="http://schemas.openxmlformats.org/officeDocument/2006/relationships/image" Target="../media/image45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emf"/><Relationship Id="rId13" Type="http://schemas.openxmlformats.org/officeDocument/2006/relationships/image" Target="../media/image60.emf"/><Relationship Id="rId18" Type="http://schemas.openxmlformats.org/officeDocument/2006/relationships/image" Target="../media/image65.emf"/><Relationship Id="rId3" Type="http://schemas.openxmlformats.org/officeDocument/2006/relationships/image" Target="../media/image50.emf"/><Relationship Id="rId7" Type="http://schemas.openxmlformats.org/officeDocument/2006/relationships/image" Target="../media/image54.emf"/><Relationship Id="rId12" Type="http://schemas.openxmlformats.org/officeDocument/2006/relationships/image" Target="../media/image59.emf"/><Relationship Id="rId17" Type="http://schemas.openxmlformats.org/officeDocument/2006/relationships/image" Target="../media/image64.emf"/><Relationship Id="rId2" Type="http://schemas.openxmlformats.org/officeDocument/2006/relationships/image" Target="../media/image49.emf"/><Relationship Id="rId16" Type="http://schemas.openxmlformats.org/officeDocument/2006/relationships/image" Target="../media/image63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3.emf"/><Relationship Id="rId11" Type="http://schemas.openxmlformats.org/officeDocument/2006/relationships/image" Target="../media/image58.emf"/><Relationship Id="rId5" Type="http://schemas.openxmlformats.org/officeDocument/2006/relationships/image" Target="../media/image52.emf"/><Relationship Id="rId15" Type="http://schemas.openxmlformats.org/officeDocument/2006/relationships/image" Target="../media/image62.emf"/><Relationship Id="rId10" Type="http://schemas.openxmlformats.org/officeDocument/2006/relationships/image" Target="../media/image57.emf"/><Relationship Id="rId4" Type="http://schemas.openxmlformats.org/officeDocument/2006/relationships/image" Target="../media/image51.emf"/><Relationship Id="rId9" Type="http://schemas.openxmlformats.org/officeDocument/2006/relationships/image" Target="../media/image56.emf"/><Relationship Id="rId14" Type="http://schemas.openxmlformats.org/officeDocument/2006/relationships/image" Target="../media/image6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7" Type="http://schemas.openxmlformats.org/officeDocument/2006/relationships/image" Target="../media/image71.emf"/><Relationship Id="rId2" Type="http://schemas.openxmlformats.org/officeDocument/2006/relationships/image" Target="../media/image66.emf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799217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575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Insert picture her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3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brand nam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campaign 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Background’ here</a:t>
            </a:r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Idea’ here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Insert quote here – can run to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90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5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5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2"/>
            <a:ext cx="7915275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4"/>
            <a:ext cx="7915275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11" name="Picture 10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8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3301" y="5786517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4"/>
            <a:ext cx="7915275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3"/>
            <a:ext cx="7915276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3"/>
            <a:ext cx="7915275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3"/>
            <a:ext cx="7915275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6395"/>
            <a:ext cx="9316338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71821"/>
            <a:ext cx="6193706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76698"/>
            <a:ext cx="6193706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9414" y="1905000"/>
            <a:ext cx="6318711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6395"/>
            <a:ext cx="9316338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71821"/>
            <a:ext cx="6193706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76698"/>
            <a:ext cx="6193706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9414" y="1905000"/>
            <a:ext cx="6318711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599"/>
            <a:ext cx="10080625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395413"/>
            <a:ext cx="9378950" cy="54054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2441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997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98650" y="2512932"/>
            <a:ext cx="6300950" cy="3106574"/>
          </a:xfr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Body copy </a:t>
            </a:r>
            <a:r>
              <a:rPr lang="en-GB" dirty="0" err="1" smtClean="0"/>
              <a:t>Lobor</a:t>
            </a:r>
            <a:r>
              <a:rPr lang="en-GB" dirty="0" smtClean="0"/>
              <a:t> sum </a:t>
            </a:r>
            <a:r>
              <a:rPr lang="en-GB" dirty="0" err="1" smtClean="0"/>
              <a:t>iliquatue</a:t>
            </a:r>
            <a:r>
              <a:rPr lang="en-GB" dirty="0" smtClean="0"/>
              <a:t> </a:t>
            </a:r>
            <a:r>
              <a:rPr lang="en-GB" dirty="0" err="1" smtClean="0"/>
              <a:t>facilisi.Ute</a:t>
            </a:r>
            <a:r>
              <a:rPr lang="en-GB" dirty="0" smtClean="0"/>
              <a:t> </a:t>
            </a:r>
            <a:r>
              <a:rPr lang="en-GB" dirty="0" err="1" smtClean="0"/>
              <a:t>dolessim</a:t>
            </a:r>
            <a:r>
              <a:rPr lang="en-GB" dirty="0" smtClean="0"/>
              <a:t> </a:t>
            </a:r>
            <a:r>
              <a:rPr lang="en-GB" dirty="0" err="1" smtClean="0"/>
              <a:t>veliqui</a:t>
            </a:r>
            <a:r>
              <a:rPr lang="en-GB" dirty="0" smtClean="0"/>
              <a:t> </a:t>
            </a:r>
            <a:r>
              <a:rPr lang="en-GB" dirty="0" err="1" smtClean="0"/>
              <a:t>blam</a:t>
            </a:r>
            <a:r>
              <a:rPr lang="en-GB" dirty="0" smtClean="0"/>
              <a:t> </a:t>
            </a:r>
            <a:r>
              <a:rPr lang="en-GB" dirty="0" err="1" smtClean="0"/>
              <a:t>nosto</a:t>
            </a:r>
            <a:r>
              <a:rPr lang="en-GB" dirty="0" smtClean="0"/>
              <a:t> </a:t>
            </a:r>
            <a:r>
              <a:rPr lang="en-GB" dirty="0" err="1" smtClean="0"/>
              <a:t>essi</a:t>
            </a:r>
            <a:r>
              <a:rPr lang="en-GB" dirty="0" smtClean="0"/>
              <a:t> tie </a:t>
            </a:r>
            <a:r>
              <a:rPr lang="en-GB" dirty="0" err="1" smtClean="0"/>
              <a:t>velit</a:t>
            </a:r>
            <a:r>
              <a:rPr lang="en-GB" dirty="0" smtClean="0"/>
              <a:t> </a:t>
            </a:r>
            <a:r>
              <a:rPr lang="en-GB" dirty="0" err="1" smtClean="0"/>
              <a:t>autpat</a:t>
            </a:r>
            <a:r>
              <a:rPr lang="en-GB" dirty="0" smtClean="0"/>
              <a:t>. </a:t>
            </a:r>
            <a:r>
              <a:rPr lang="en-GB" dirty="0" err="1" smtClean="0"/>
              <a:t>Ut</a:t>
            </a:r>
            <a:r>
              <a:rPr lang="en-GB" dirty="0" smtClean="0"/>
              <a:t> </a:t>
            </a:r>
            <a:r>
              <a:rPr lang="en-GB" dirty="0" err="1" smtClean="0"/>
              <a:t>lobore</a:t>
            </a:r>
            <a:r>
              <a:rPr lang="en-GB" dirty="0" smtClean="0"/>
              <a:t> </a:t>
            </a:r>
            <a:r>
              <a:rPr lang="en-GB" dirty="0" err="1" smtClean="0"/>
              <a:t>doluptatie</a:t>
            </a:r>
            <a:r>
              <a:rPr lang="en-GB" dirty="0" smtClean="0"/>
              <a:t> et, con </a:t>
            </a:r>
            <a:r>
              <a:rPr lang="en-GB" dirty="0" err="1" smtClean="0"/>
              <a:t>ulpute</a:t>
            </a:r>
            <a:r>
              <a:rPr lang="en-GB" dirty="0" smtClean="0"/>
              <a:t> </a:t>
            </a:r>
            <a:r>
              <a:rPr lang="en-GB" dirty="0" err="1" smtClean="0"/>
              <a:t>magnis</a:t>
            </a:r>
            <a:r>
              <a:rPr lang="en-GB" dirty="0" smtClean="0"/>
              <a:t> </a:t>
            </a:r>
            <a:r>
              <a:rPr lang="en-GB" dirty="0" err="1" smtClean="0"/>
              <a:t>amconse</a:t>
            </a:r>
            <a:r>
              <a:rPr lang="en-GB" dirty="0" smtClean="0"/>
              <a:t> </a:t>
            </a:r>
            <a:r>
              <a:rPr lang="en-GB" dirty="0" err="1" smtClean="0"/>
              <a:t>quisim</a:t>
            </a:r>
            <a:r>
              <a:rPr lang="en-GB" dirty="0" smtClean="0"/>
              <a:t> </a:t>
            </a:r>
            <a:r>
              <a:rPr lang="en-GB" dirty="0" err="1" smtClean="0"/>
              <a:t>quat</a:t>
            </a:r>
            <a:r>
              <a:rPr lang="en-GB" dirty="0" smtClean="0"/>
              <a:t>, </a:t>
            </a:r>
            <a:r>
              <a:rPr lang="en-GB" dirty="0" err="1" smtClean="0"/>
              <a:t>suscilla</a:t>
            </a:r>
            <a:r>
              <a:rPr lang="en-GB" dirty="0" smtClean="0"/>
              <a:t> </a:t>
            </a:r>
            <a:r>
              <a:rPr lang="en-GB" dirty="0" err="1" smtClean="0"/>
              <a:t>facilis</a:t>
            </a:r>
            <a:r>
              <a:rPr lang="en-GB" dirty="0" smtClean="0"/>
              <a:t> </a:t>
            </a:r>
            <a:r>
              <a:rPr lang="en-GB" dirty="0" err="1" smtClean="0"/>
              <a:t>nonsect</a:t>
            </a:r>
            <a:r>
              <a:rPr lang="en-GB" dirty="0" smtClean="0"/>
              <a:t> </a:t>
            </a:r>
            <a:r>
              <a:rPr lang="en-GB" dirty="0" err="1" smtClean="0"/>
              <a:t>etueriusto</a:t>
            </a:r>
            <a:r>
              <a:rPr lang="en-GB" dirty="0" smtClean="0"/>
              <a:t> </a:t>
            </a:r>
            <a:r>
              <a:rPr lang="en-GB" dirty="0" err="1" smtClean="0"/>
              <a:t>doloreet</a:t>
            </a:r>
            <a:r>
              <a:rPr lang="en-GB" dirty="0" smtClean="0"/>
              <a:t> </a:t>
            </a:r>
            <a:r>
              <a:rPr lang="en-GB" dirty="0" err="1" smtClean="0"/>
              <a:t>alisit</a:t>
            </a:r>
            <a:r>
              <a:rPr lang="en-GB" dirty="0" smtClean="0"/>
              <a:t> </a:t>
            </a:r>
            <a:r>
              <a:rPr lang="en-GB" dirty="0" err="1" smtClean="0"/>
              <a:t>autpat</a:t>
            </a:r>
            <a:r>
              <a:rPr lang="en-GB" dirty="0" smtClean="0"/>
              <a:t>.</a:t>
            </a:r>
          </a:p>
          <a:p>
            <a:pPr lvl="0"/>
            <a:endParaRPr lang="en-GB" dirty="0" smtClean="0"/>
          </a:p>
          <a:p>
            <a:pPr lvl="0"/>
            <a:r>
              <a:rPr lang="en-GB" dirty="0" err="1" smtClean="0"/>
              <a:t>uismodo</a:t>
            </a:r>
            <a:r>
              <a:rPr lang="en-GB" dirty="0" smtClean="0"/>
              <a:t> dip el in </a:t>
            </a:r>
            <a:r>
              <a:rPr lang="en-GB" dirty="0" err="1" smtClean="0"/>
              <a:t>exer</a:t>
            </a:r>
            <a:r>
              <a:rPr lang="en-GB" dirty="0" smtClean="0"/>
              <a:t> </a:t>
            </a:r>
            <a:r>
              <a:rPr lang="en-GB" dirty="0" err="1" smtClean="0"/>
              <a:t>irit</a:t>
            </a:r>
            <a:r>
              <a:rPr lang="en-GB" dirty="0" smtClean="0"/>
              <a:t> </a:t>
            </a:r>
            <a:r>
              <a:rPr lang="en-GB" dirty="0" err="1" smtClean="0"/>
              <a:t>vel</a:t>
            </a:r>
            <a:r>
              <a:rPr lang="en-GB" dirty="0" smtClean="0"/>
              <a:t> </a:t>
            </a:r>
            <a:r>
              <a:rPr lang="en-GB" dirty="0" err="1" smtClean="0"/>
              <a:t>irit</a:t>
            </a:r>
            <a:r>
              <a:rPr lang="en-GB" dirty="0" smtClean="0"/>
              <a:t> </a:t>
            </a:r>
            <a:r>
              <a:rPr lang="en-GB" dirty="0" err="1" smtClean="0"/>
              <a:t>exeros</a:t>
            </a:r>
            <a:r>
              <a:rPr lang="en-GB" dirty="0" smtClean="0"/>
              <a:t> </a:t>
            </a:r>
            <a:r>
              <a:rPr lang="en-GB" dirty="0" err="1" smtClean="0"/>
              <a:t>nulputem</a:t>
            </a:r>
            <a:r>
              <a:rPr lang="en-GB" dirty="0" smtClean="0"/>
              <a:t> </a:t>
            </a:r>
            <a:r>
              <a:rPr lang="en-GB" dirty="0" err="1" smtClean="0"/>
              <a:t>iustrud</a:t>
            </a:r>
            <a:r>
              <a:rPr lang="en-GB" dirty="0" smtClean="0"/>
              <a:t> do corer </a:t>
            </a:r>
            <a:r>
              <a:rPr lang="en-GB" dirty="0" err="1" smtClean="0"/>
              <a:t>ilismod</a:t>
            </a:r>
            <a:r>
              <a:rPr lang="en-GB" dirty="0" smtClean="0"/>
              <a:t> </a:t>
            </a:r>
            <a:r>
              <a:rPr lang="en-GB" dirty="0" err="1" smtClean="0"/>
              <a:t>eros</a:t>
            </a:r>
            <a:r>
              <a:rPr lang="en-GB" dirty="0" smtClean="0"/>
              <a:t> dip </a:t>
            </a:r>
            <a:r>
              <a:rPr lang="en-GB" dirty="0" err="1" smtClean="0"/>
              <a:t>essecte</a:t>
            </a:r>
            <a:r>
              <a:rPr lang="en-GB" dirty="0" smtClean="0"/>
              <a:t> </a:t>
            </a:r>
            <a:r>
              <a:rPr lang="en-GB" dirty="0" err="1" smtClean="0"/>
              <a:t>consequ</a:t>
            </a:r>
            <a:r>
              <a:rPr lang="en-GB" dirty="0" smtClean="0"/>
              <a:t> </a:t>
            </a:r>
            <a:r>
              <a:rPr lang="en-GB" dirty="0" err="1" smtClean="0"/>
              <a:t>velit</a:t>
            </a:r>
            <a:r>
              <a:rPr lang="en-GB" dirty="0" smtClean="0"/>
              <a:t>, </a:t>
            </a:r>
            <a:r>
              <a:rPr lang="en-GB" dirty="0" err="1" smtClean="0"/>
              <a:t>dolenis</a:t>
            </a:r>
            <a:r>
              <a:rPr lang="en-GB" dirty="0" smtClean="0"/>
              <a:t> </a:t>
            </a:r>
            <a:r>
              <a:rPr lang="en-GB" dirty="0" err="1" smtClean="0"/>
              <a:t>nos</a:t>
            </a:r>
            <a:r>
              <a:rPr lang="en-GB" dirty="0" smtClean="0"/>
              <a:t> </a:t>
            </a:r>
            <a:r>
              <a:rPr lang="en-GB" dirty="0" err="1" smtClean="0"/>
              <a:t>adignim</a:t>
            </a:r>
            <a:r>
              <a:rPr lang="en-GB" dirty="0" smtClean="0"/>
              <a:t> </a:t>
            </a:r>
            <a:r>
              <a:rPr lang="en-GB" dirty="0" err="1" smtClean="0"/>
              <a:t>duis</a:t>
            </a:r>
            <a:r>
              <a:rPr lang="en-GB" dirty="0" smtClean="0"/>
              <a:t> </a:t>
            </a:r>
            <a:r>
              <a:rPr lang="en-GB" dirty="0" err="1" smtClean="0"/>
              <a:t>nos</a:t>
            </a:r>
            <a:r>
              <a:rPr lang="en-GB" dirty="0" smtClean="0"/>
              <a:t> </a:t>
            </a:r>
            <a:r>
              <a:rPr lang="en-GB" dirty="0" err="1" smtClean="0"/>
              <a:t>dolore</a:t>
            </a:r>
            <a:r>
              <a:rPr lang="en-GB" dirty="0" smtClean="0"/>
              <a:t> </a:t>
            </a:r>
            <a:r>
              <a:rPr lang="en-GB" dirty="0" err="1" smtClean="0"/>
              <a:t>doloreet</a:t>
            </a:r>
            <a:r>
              <a:rPr lang="en-GB" dirty="0" smtClean="0"/>
              <a:t> </a:t>
            </a:r>
            <a:r>
              <a:rPr lang="en-GB" dirty="0" err="1" smtClean="0"/>
              <a:t>conum</a:t>
            </a:r>
            <a:r>
              <a:rPr lang="en-GB" dirty="0" smtClean="0"/>
              <a:t> </a:t>
            </a:r>
            <a:r>
              <a:rPr lang="en-GB" dirty="0" err="1" smtClean="0"/>
              <a:t>dolorem</a:t>
            </a:r>
            <a:r>
              <a:rPr lang="en-GB" dirty="0" smtClean="0"/>
              <a:t> </a:t>
            </a:r>
            <a:r>
              <a:rPr lang="en-GB" dirty="0" err="1" smtClean="0"/>
              <a:t>vullut</a:t>
            </a:r>
            <a:r>
              <a:rPr lang="en-GB" dirty="0" smtClean="0"/>
              <a:t> </a:t>
            </a:r>
            <a:r>
              <a:rPr lang="en-GB" dirty="0" err="1" smtClean="0"/>
              <a:t>vercill</a:t>
            </a:r>
            <a:r>
              <a:rPr lang="en-GB" dirty="0" smtClean="0"/>
              <a:t> </a:t>
            </a:r>
            <a:r>
              <a:rPr lang="en-GB" dirty="0" err="1" smtClean="0"/>
              <a:t>utatet</a:t>
            </a:r>
            <a:r>
              <a:rPr lang="en-GB" dirty="0" smtClean="0"/>
              <a:t>. XX% Reference copy </a:t>
            </a:r>
            <a:r>
              <a:rPr lang="en-GB" dirty="0" err="1" smtClean="0"/>
              <a:t>lobor</a:t>
            </a:r>
            <a:r>
              <a:rPr lang="en-GB" dirty="0" smtClean="0"/>
              <a:t> sum </a:t>
            </a:r>
            <a:r>
              <a:rPr lang="en-GB" dirty="0" err="1" smtClean="0"/>
              <a:t>i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r>
              <a:rPr lang="en-GB" dirty="0" smtClean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0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207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490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19" y="137245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19" y="157733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82" y="1902928"/>
            <a:ext cx="3925682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5085647" y="1902928"/>
            <a:ext cx="3923416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6483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6971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6700" y="2465456"/>
            <a:ext cx="6321425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6483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6971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6700" y="2465456"/>
            <a:ext cx="6321425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799217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7541" y="2461174"/>
            <a:ext cx="3928221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1887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1884" y="136229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1884" y="156717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5082153" y="2468629"/>
            <a:ext cx="3926909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5535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5535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89108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489108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692137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92137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6613" y="2458635"/>
            <a:ext cx="3099504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482728" y="2459740"/>
            <a:ext cx="3092608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82222" y="2452723"/>
            <a:ext cx="3123765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2364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2364" y="1583048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79157" y="2467962"/>
            <a:ext cx="3126831" cy="102612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681200" y="3548039"/>
            <a:ext cx="3126831" cy="105412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98650" y="2458714"/>
            <a:ext cx="3095626" cy="1035374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09594" y="3559767"/>
            <a:ext cx="3084682" cy="10423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84868" y="2467962"/>
            <a:ext cx="3121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686912" y="3548040"/>
            <a:ext cx="311907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1979" y="2463159"/>
            <a:ext cx="3122295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83410" y="3555957"/>
            <a:ext cx="3110865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1535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5125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1092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1092" y="1583048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5598" y="3555676"/>
            <a:ext cx="2311040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50" y="3557877"/>
            <a:ext cx="231603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57873"/>
            <a:ext cx="2322459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77929" y="3550866"/>
            <a:ext cx="231634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1535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4902" y="1357942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4902" y="158495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267534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2706688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5106988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7516813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39832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3723" y="807756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8237" y="138388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237" y="158876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84238" y="3011507"/>
            <a:ext cx="3113611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5084128" y="5207562"/>
            <a:ext cx="3090862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3730" y="3006083"/>
            <a:ext cx="3120546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71083" y="5209764"/>
            <a:ext cx="3123192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5597" y="3555675"/>
            <a:ext cx="231104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49" y="3557876"/>
            <a:ext cx="2316039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48347"/>
            <a:ext cx="2322460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77929" y="3550865"/>
            <a:ext cx="2316346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1887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1887" y="1371821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1887" y="158622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9794" y="3005158"/>
            <a:ext cx="311805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5081838" y="5220262"/>
            <a:ext cx="311601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8810" y="3001004"/>
            <a:ext cx="311805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72353" y="5222464"/>
            <a:ext cx="312192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12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12" y="158622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1886403" y="1936750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089978" y="1936750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1886403" y="4148138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089978" y="4148138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9407" y="3560391"/>
            <a:ext cx="2307231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49" y="3560391"/>
            <a:ext cx="2316039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60391"/>
            <a:ext cx="2322460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81739" y="3560391"/>
            <a:ext cx="2312536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22" y="137245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22" y="158495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85750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2706688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127626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48564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85750" y="1395413"/>
            <a:ext cx="2300288" cy="2344080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lvl="1"/>
            <a:r>
              <a:rPr lang="en-US" dirty="0" err="1" smtClean="0"/>
              <a:t>Donec</a:t>
            </a:r>
            <a:r>
              <a:rPr lang="en-US" dirty="0" smtClean="0"/>
              <a:t> non </a:t>
            </a:r>
            <a:r>
              <a:rPr lang="en-US" dirty="0" err="1" smtClean="0"/>
              <a:t>eleifend</a:t>
            </a:r>
            <a:r>
              <a:rPr lang="en-US" dirty="0" smtClean="0"/>
              <a:t> </a:t>
            </a:r>
            <a:r>
              <a:rPr lang="en-US" dirty="0" err="1" smtClean="0"/>
              <a:t>tortor</a:t>
            </a:r>
            <a:r>
              <a:rPr lang="en-US" dirty="0" smtClean="0"/>
              <a:t>, in </a:t>
            </a:r>
            <a:r>
              <a:rPr lang="en-US" dirty="0" err="1" smtClean="0"/>
              <a:t>interdum</a:t>
            </a:r>
            <a:r>
              <a:rPr lang="en-US" dirty="0" smtClean="0"/>
              <a:t> </a:t>
            </a:r>
            <a:r>
              <a:rPr lang="en-US" dirty="0" err="1" smtClean="0"/>
              <a:t>nunc</a:t>
            </a:r>
            <a:r>
              <a:rPr lang="en-US" dirty="0" smtClean="0"/>
              <a:t>. </a:t>
            </a:r>
            <a:r>
              <a:rPr lang="en-US" dirty="0" err="1" smtClean="0"/>
              <a:t>molesti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,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ante </a:t>
            </a:r>
            <a:r>
              <a:rPr lang="en-US" dirty="0" err="1" smtClean="0"/>
              <a:t>nulla</a:t>
            </a:r>
            <a:r>
              <a:rPr lang="en-US" dirty="0" smtClean="0"/>
              <a:t> non </a:t>
            </a:r>
            <a:r>
              <a:rPr lang="en-US" dirty="0" err="1" smtClean="0"/>
              <a:t>nisl</a:t>
            </a:r>
            <a:r>
              <a:rPr lang="en-US" dirty="0" smtClean="0"/>
              <a:t>. Nam et </a:t>
            </a:r>
            <a:r>
              <a:rPr lang="en-US" dirty="0" err="1" smtClean="0"/>
              <a:t>sapien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85749" y="4415517"/>
            <a:ext cx="3108325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smtClean="0"/>
              <a:t>XX%</a:t>
            </a:r>
          </a:p>
          <a:p>
            <a:pPr lvl="1"/>
            <a:r>
              <a:rPr lang="pt-BR" dirty="0" smtClean="0"/>
              <a:t>Pellentesque aliquam eros non iaculis condimentum. </a:t>
            </a:r>
            <a:endParaRPr lang="en-US" dirty="0" smtClean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706688" y="1395413"/>
            <a:ext cx="3881437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vehicula</a:t>
            </a:r>
            <a:r>
              <a:rPr lang="en-US" dirty="0" smtClean="0"/>
              <a:t> </a:t>
            </a:r>
            <a:r>
              <a:rPr lang="en-US" dirty="0" err="1" smtClean="0"/>
              <a:t>sem</a:t>
            </a:r>
            <a:r>
              <a:rPr lang="en-US" dirty="0" smtClean="0"/>
              <a:t>, vitae </a:t>
            </a:r>
            <a:r>
              <a:rPr lang="en-US" dirty="0" err="1" smtClean="0"/>
              <a:t>porttitor</a:t>
            </a:r>
            <a:r>
              <a:rPr lang="en-US" dirty="0" smtClean="0"/>
              <a:t> </a:t>
            </a:r>
            <a:r>
              <a:rPr lang="en-US" dirty="0" err="1" smtClean="0"/>
              <a:t>urna</a:t>
            </a:r>
            <a:r>
              <a:rPr lang="en-US" dirty="0" smtClean="0"/>
              <a:t> semper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placerat</a:t>
            </a:r>
            <a:r>
              <a:rPr lang="en-US" dirty="0" smtClean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478440" y="3069319"/>
            <a:ext cx="2292123" cy="25882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 smtClean="0"/>
              <a:t>Cum </a:t>
            </a:r>
            <a:r>
              <a:rPr lang="fr-FR" dirty="0" err="1" smtClean="0"/>
              <a:t>sociis</a:t>
            </a:r>
            <a:r>
              <a:rPr lang="fr-FR" dirty="0" smtClean="0"/>
              <a:t> </a:t>
            </a:r>
            <a:r>
              <a:rPr lang="fr-FR" dirty="0" err="1" smtClean="0"/>
              <a:t>natoque</a:t>
            </a:r>
            <a:r>
              <a:rPr lang="fr-FR" dirty="0" smtClean="0"/>
              <a:t> </a:t>
            </a:r>
            <a:r>
              <a:rPr lang="fr-FR" dirty="0" err="1" smtClean="0"/>
              <a:t>penatibus</a:t>
            </a:r>
            <a:r>
              <a:rPr lang="fr-FR" dirty="0" smtClean="0"/>
              <a:t> et </a:t>
            </a:r>
            <a:r>
              <a:rPr lang="fr-FR" dirty="0" err="1" smtClean="0"/>
              <a:t>magnis</a:t>
            </a:r>
            <a:r>
              <a:rPr lang="fr-FR" dirty="0" smtClean="0"/>
              <a:t> dis </a:t>
            </a:r>
            <a:r>
              <a:rPr lang="fr-FR" dirty="0" err="1" smtClean="0"/>
              <a:t>parturient</a:t>
            </a:r>
            <a:r>
              <a:rPr lang="fr-FR" dirty="0" smtClean="0"/>
              <a:t> montes, </a:t>
            </a:r>
            <a:r>
              <a:rPr lang="fr-FR" dirty="0" err="1" smtClean="0"/>
              <a:t>nascetur</a:t>
            </a:r>
            <a:r>
              <a:rPr lang="fr-FR" dirty="0" smtClean="0"/>
              <a:t> </a:t>
            </a:r>
            <a:r>
              <a:rPr lang="fr-FR" dirty="0" err="1" smtClean="0"/>
              <a:t>ridiculus</a:t>
            </a:r>
            <a:r>
              <a:rPr lang="fr-FR" dirty="0" smtClean="0"/>
              <a:t> mus. </a:t>
            </a:r>
            <a:r>
              <a:rPr lang="fr-FR" dirty="0" err="1" smtClean="0"/>
              <a:t>Mauris</a:t>
            </a:r>
            <a:r>
              <a:rPr lang="fr-FR" dirty="0" smtClean="0"/>
              <a:t> tristique massa </a:t>
            </a:r>
            <a:r>
              <a:rPr lang="fr-FR" dirty="0" err="1" smtClean="0"/>
              <a:t>justo</a:t>
            </a:r>
            <a:r>
              <a:rPr lang="en-US" dirty="0" smtClean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708775" y="1398589"/>
            <a:ext cx="3097213" cy="1655337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Quisque</a:t>
            </a:r>
            <a:r>
              <a:rPr lang="en-US" dirty="0" smtClean="0"/>
              <a:t> </a:t>
            </a:r>
            <a:r>
              <a:rPr lang="en-US" dirty="0" err="1" smtClean="0"/>
              <a:t>accumsan</a:t>
            </a:r>
            <a:r>
              <a:rPr lang="en-US" dirty="0" smtClean="0"/>
              <a:t> </a:t>
            </a:r>
            <a:r>
              <a:rPr lang="en-US" dirty="0" err="1" smtClean="0"/>
              <a:t>vehicula</a:t>
            </a:r>
            <a:r>
              <a:rPr lang="en-US" dirty="0" smtClean="0"/>
              <a:t> </a:t>
            </a:r>
            <a:r>
              <a:rPr lang="en-US" dirty="0" err="1" smtClean="0"/>
              <a:t>vulputate</a:t>
            </a:r>
            <a:r>
              <a:rPr lang="en-US" dirty="0" smtClean="0"/>
              <a:t>. In a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. </a:t>
            </a:r>
            <a:r>
              <a:rPr lang="en-US" dirty="0" err="1" smtClean="0"/>
              <a:t>Mauris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ultrices</a:t>
            </a:r>
            <a:r>
              <a:rPr lang="en-US" dirty="0" smtClean="0"/>
              <a:t> </a:t>
            </a:r>
            <a:r>
              <a:rPr lang="en-US" dirty="0" err="1" smtClean="0"/>
              <a:t>accumsan</a:t>
            </a:r>
            <a:r>
              <a:rPr lang="en-US" dirty="0" smtClean="0"/>
              <a:t>. </a:t>
            </a:r>
            <a:r>
              <a:rPr lang="en-US" dirty="0" err="1" smtClean="0"/>
              <a:t>Nunc</a:t>
            </a:r>
            <a:r>
              <a:rPr lang="en-US" dirty="0" smtClean="0"/>
              <a:t> at </a:t>
            </a:r>
            <a:r>
              <a:rPr lang="en-US" dirty="0" err="1" smtClean="0"/>
              <a:t>metus</a:t>
            </a:r>
            <a:r>
              <a:rPr lang="en-US" dirty="0" smtClean="0"/>
              <a:t> </a:t>
            </a:r>
            <a:r>
              <a:rPr lang="en-US" dirty="0" err="1" smtClean="0"/>
              <a:t>pulvinar</a:t>
            </a:r>
            <a:r>
              <a:rPr lang="en-US" dirty="0" smtClean="0"/>
              <a:t>, dictum quam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gue</a:t>
            </a:r>
            <a:r>
              <a:rPr lang="en-US" dirty="0" smtClean="0"/>
              <a:t> </a:t>
            </a:r>
            <a:r>
              <a:rPr lang="en-US" dirty="0" err="1" smtClean="0"/>
              <a:t>felis</a:t>
            </a:r>
            <a:r>
              <a:rPr lang="en-US" dirty="0" smtClean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891213" y="4394880"/>
            <a:ext cx="3914775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Donec</a:t>
            </a:r>
            <a:r>
              <a:rPr lang="en-US" dirty="0" smtClean="0"/>
              <a:t> </a:t>
            </a:r>
            <a:r>
              <a:rPr lang="en-US" dirty="0" err="1" smtClean="0"/>
              <a:t>tincidunt</a:t>
            </a:r>
            <a:r>
              <a:rPr lang="en-US" dirty="0" smtClean="0"/>
              <a:t> </a:t>
            </a:r>
            <a:r>
              <a:rPr lang="en-US" dirty="0" err="1" smtClean="0"/>
              <a:t>risus</a:t>
            </a:r>
            <a:r>
              <a:rPr lang="en-US" dirty="0" smtClean="0"/>
              <a:t> sit </a:t>
            </a:r>
            <a:r>
              <a:rPr lang="en-US" dirty="0" err="1" smtClean="0"/>
              <a:t>amet</a:t>
            </a:r>
            <a:r>
              <a:rPr lang="en-US" dirty="0" smtClean="0"/>
              <a:t> ante </a:t>
            </a:r>
            <a:r>
              <a:rPr lang="en-US" dirty="0" err="1" smtClean="0"/>
              <a:t>rutrum</a:t>
            </a:r>
            <a:r>
              <a:rPr lang="en-US" dirty="0" smtClean="0"/>
              <a:t> </a:t>
            </a:r>
            <a:r>
              <a:rPr lang="en-US" dirty="0" err="1" smtClean="0"/>
              <a:t>ultrices</a:t>
            </a:r>
            <a:r>
              <a:rPr lang="en-US" dirty="0" smtClean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802393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292100" y="3595688"/>
            <a:ext cx="9513888" cy="3206750"/>
          </a:xfr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pace for character illustrations – delete grey shape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85749" y="1936750"/>
            <a:ext cx="3108325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lvl="1"/>
            <a:r>
              <a:rPr lang="en-US" dirty="0" err="1" smtClean="0"/>
              <a:t>Donec</a:t>
            </a:r>
            <a:r>
              <a:rPr lang="en-US" dirty="0" smtClean="0"/>
              <a:t> non </a:t>
            </a:r>
            <a:r>
              <a:rPr lang="en-US" dirty="0" err="1" smtClean="0"/>
              <a:t>eleifend</a:t>
            </a:r>
            <a:r>
              <a:rPr lang="en-US" dirty="0" smtClean="0"/>
              <a:t> </a:t>
            </a:r>
            <a:r>
              <a:rPr lang="en-US" dirty="0" err="1" smtClean="0"/>
              <a:t>tortor</a:t>
            </a:r>
            <a:r>
              <a:rPr lang="en-US" dirty="0" smtClean="0"/>
              <a:t>, in </a:t>
            </a:r>
            <a:r>
              <a:rPr lang="en-US" dirty="0" err="1" smtClean="0"/>
              <a:t>interdum</a:t>
            </a:r>
            <a:r>
              <a:rPr lang="en-US" dirty="0" smtClean="0"/>
              <a:t> </a:t>
            </a:r>
            <a:r>
              <a:rPr lang="en-US" dirty="0" err="1" smtClean="0"/>
              <a:t>nunc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479800" y="1385024"/>
            <a:ext cx="2290763" cy="1158747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 smtClean="0"/>
              <a:t>Duis eu vehicula sem, vitae porttitor urna semper lorem placerat non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891213" y="1936750"/>
            <a:ext cx="1495425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Quisque</a:t>
            </a:r>
            <a:r>
              <a:rPr lang="en-US" dirty="0" smtClean="0"/>
              <a:t> </a:t>
            </a:r>
            <a:r>
              <a:rPr lang="en-US" dirty="0" err="1" smtClean="0"/>
              <a:t>ultrices</a:t>
            </a:r>
            <a:r>
              <a:rPr lang="en-US" dirty="0" smtClean="0"/>
              <a:t> </a:t>
            </a:r>
            <a:r>
              <a:rPr lang="en-US" dirty="0" err="1" smtClean="0"/>
              <a:t>accumsan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7513638" y="1401763"/>
            <a:ext cx="2292350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lvl="1"/>
            <a:r>
              <a:rPr lang="en-US" dirty="0" smtClean="0"/>
              <a:t>Gait, </a:t>
            </a:r>
            <a:r>
              <a:rPr lang="en-US" dirty="0" err="1" smtClean="0"/>
              <a:t>quat</a:t>
            </a:r>
            <a:r>
              <a:rPr lang="en-US" dirty="0" smtClean="0"/>
              <a:t>. San </a:t>
            </a:r>
            <a:r>
              <a:rPr lang="en-US" dirty="0" err="1" smtClean="0"/>
              <a:t>exercilit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7906" y="4087685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7906" y="1901113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7906" y="2984756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679428" y="4087685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679428" y="1901113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679428" y="2984756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3502025" y="1936750"/>
            <a:ext cx="3086100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pace for character illustration – delete grey shape</a:t>
            </a:r>
            <a:endParaRPr lang="en-GB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DCM LEFT LOGO ALL-05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  <p:sp>
        <p:nvSpPr>
          <p:cNvPr id="9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0" y="5148263"/>
            <a:ext cx="3502025" cy="176847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64159" y="5226050"/>
            <a:ext cx="3129916" cy="1460500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DCM LEFT LOGO ALL-05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43363"/>
            <a:ext cx="3502025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66700" y="4102418"/>
            <a:ext cx="3127375" cy="246729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DCM LEFT LOGO ALL-05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DCM LEFT LOGO ALL-05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3"/>
            <a:ext cx="9520238" cy="5407025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3"/>
            <a:ext cx="9520238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5614" y="6338247"/>
            <a:ext cx="933484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5614" y="6515699"/>
            <a:ext cx="933484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3"/>
            <a:ext cx="9520238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3502025" cy="165417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5750" y="5218430"/>
            <a:ext cx="3108325" cy="1031558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4"/>
            <a:ext cx="9520238" cy="539727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0" y="4043363"/>
            <a:ext cx="3502025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75237" y="4148139"/>
            <a:ext cx="3118837" cy="154781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137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22" y="15849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4367" y="1895311"/>
            <a:ext cx="3110658" cy="4354677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502025" y="1395413"/>
            <a:ext cx="6303963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49" y="1395412"/>
            <a:ext cx="3089275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509" y="6088455"/>
            <a:ext cx="31045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0509" y="6265908"/>
            <a:ext cx="31045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503215" y="1395412"/>
            <a:ext cx="3084909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92039" y="6089725"/>
            <a:ext cx="309608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492039" y="6267178"/>
            <a:ext cx="309608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708774" y="1395412"/>
            <a:ext cx="3097213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82268" y="6089725"/>
            <a:ext cx="312371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82268" y="6267178"/>
            <a:ext cx="312371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704525"/>
            <a:ext cx="1493838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5750" y="4134929"/>
            <a:ext cx="1493838" cy="248390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5750" y="4312381"/>
            <a:ext cx="1490299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1898649" y="2806107"/>
            <a:ext cx="1494000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898649" y="5245685"/>
            <a:ext cx="147287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898649" y="5423137"/>
            <a:ext cx="1472877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3502024" y="1704526"/>
            <a:ext cx="1494000" cy="231270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502024" y="4134929"/>
            <a:ext cx="149225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502024" y="4312381"/>
            <a:ext cx="149225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102563" y="2806107"/>
            <a:ext cx="1485562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02563" y="5245685"/>
            <a:ext cx="1485562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02563" y="5423137"/>
            <a:ext cx="1485562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708774" y="1704525"/>
            <a:ext cx="1494000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708774" y="4133355"/>
            <a:ext cx="1489076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08774" y="4310807"/>
            <a:ext cx="1489076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321674" y="2804534"/>
            <a:ext cx="1494000" cy="233534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21674" y="5244110"/>
            <a:ext cx="1484314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321674" y="5421562"/>
            <a:ext cx="1484314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49" y="1946276"/>
            <a:ext cx="3108325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193" y="4695143"/>
            <a:ext cx="311188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2193" y="4872592"/>
            <a:ext cx="311188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510719" y="1946276"/>
            <a:ext cx="307740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07163" y="4695143"/>
            <a:ext cx="308096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7163" y="4872592"/>
            <a:ext cx="308096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708774" y="1946276"/>
            <a:ext cx="3097213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05218" y="4695143"/>
            <a:ext cx="310076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05218" y="4872592"/>
            <a:ext cx="310076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82522" y="15468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11927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11927" y="1590998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41196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41196" y="1589424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101912" y="1946274"/>
            <a:ext cx="309593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98356" y="4683125"/>
            <a:ext cx="304208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98356" y="4860575"/>
            <a:ext cx="304208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82522" y="15595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709975" y="1946275"/>
            <a:ext cx="2284299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5971" y="5791660"/>
            <a:ext cx="2288304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05971" y="5969113"/>
            <a:ext cx="2288304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8321675" y="1946276"/>
            <a:ext cx="1484313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8302835" y="4102376"/>
            <a:ext cx="1484313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311034" y="5779331"/>
            <a:ext cx="146659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311034" y="5956781"/>
            <a:ext cx="1466590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310205" y="3572705"/>
            <a:ext cx="146659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10205" y="3750158"/>
            <a:ext cx="1466590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294444" y="4102373"/>
            <a:ext cx="2291594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77739" y="5791660"/>
            <a:ext cx="230829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7739" y="5969113"/>
            <a:ext cx="230829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294444" y="1946278"/>
            <a:ext cx="2291594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0531" y="3577483"/>
            <a:ext cx="230550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80531" y="3754931"/>
            <a:ext cx="2305507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89865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70065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266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30466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cxnSp>
        <p:nvCxnSpPr>
          <p:cNvPr id="29" name="Straight Connector 28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DCM LEFT LOGO ALL-05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93743" y="1943414"/>
            <a:ext cx="2292295" cy="1550674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898650" y="6918217"/>
            <a:ext cx="687388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7066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86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290583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2700830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5108822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16813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292289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2700464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5108639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7516813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10080625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1898650" y="1395413"/>
            <a:ext cx="6299200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0"/>
            <a:ext cx="10080625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457774"/>
            <a:ext cx="10080625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DCM LEFT LOGO ALL-05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137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0"/>
            <a:ext cx="10080625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852139"/>
            <a:ext cx="10080625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2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82522" y="1395414"/>
            <a:ext cx="3076498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 hasCustomPrompt="1"/>
          </p:nvPr>
        </p:nvSpPr>
        <p:spPr bwMode="gray">
          <a:xfrm>
            <a:off x="3498446" y="1395414"/>
            <a:ext cx="3076498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 hasCustomPrompt="1"/>
          </p:nvPr>
        </p:nvSpPr>
        <p:spPr bwMode="gray">
          <a:xfrm>
            <a:off x="6714370" y="1395414"/>
            <a:ext cx="3076498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 hasCustomPrompt="1"/>
          </p:nvPr>
        </p:nvSpPr>
        <p:spPr bwMode="gray">
          <a:xfrm>
            <a:off x="282522" y="3925760"/>
            <a:ext cx="3076498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 hasCustomPrompt="1"/>
          </p:nvPr>
        </p:nvSpPr>
        <p:spPr bwMode="gray">
          <a:xfrm>
            <a:off x="3498446" y="3925760"/>
            <a:ext cx="3076498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 hasCustomPrompt="1"/>
          </p:nvPr>
        </p:nvSpPr>
        <p:spPr bwMode="gray">
          <a:xfrm>
            <a:off x="6714370" y="3925760"/>
            <a:ext cx="3076498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85750" y="1395413"/>
            <a:ext cx="9520238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cxnSp>
        <p:nvCxnSpPr>
          <p:cNvPr id="16" name="Straight Connector 15"/>
          <p:cNvCxnSpPr>
            <a:stCxn id="15" idx="1"/>
            <a:endCxn id="15" idx="3"/>
          </p:cNvCxnSpPr>
          <p:nvPr userDrawn="1"/>
        </p:nvCxnSpPr>
        <p:spPr bwMode="gray">
          <a:xfrm>
            <a:off x="0" y="6802438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1076" y="466553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251706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3591181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512138" y="4665535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516812" y="2517063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3591181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303941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411353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516812" y="3039415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4113533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1076" y="466553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251706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3591181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512138" y="3564494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2490140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53920" y="344821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495529" y="4665535"/>
            <a:ext cx="2310459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495529" y="2488034"/>
            <a:ext cx="2310459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495529" y="3576667"/>
            <a:ext cx="2310459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285750" y="2490561"/>
            <a:ext cx="228600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302775" y="3598863"/>
            <a:ext cx="2268976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302775" y="4687661"/>
            <a:ext cx="2268976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1879600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66900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65313" y="3581656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56917" y="344893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76825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76825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76825" y="3581656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8305889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8296275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8296275" y="3581656"/>
            <a:ext cx="1509713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4395" y="510381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7"/>
            <a:ext cx="10080625" cy="4560250"/>
          </a:xfrm>
          <a:solidFill>
            <a:schemeClr val="accent5"/>
          </a:solidFill>
          <a:ln>
            <a:noFill/>
          </a:ln>
        </p:spPr>
        <p:txBody>
          <a:bodyPr tIns="1440000" anchor="t" anchorCtr="0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00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M Character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23124" y="2362458"/>
            <a:ext cx="1135062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3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865008" y="2052267"/>
            <a:ext cx="842962" cy="1443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5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309002" y="1423617"/>
            <a:ext cx="1538288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5361139" y="1976066"/>
            <a:ext cx="550863" cy="151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7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104894" y="1877642"/>
            <a:ext cx="750887" cy="161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597341" y="1512516"/>
            <a:ext cx="1889125" cy="198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9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372541" y="4225859"/>
            <a:ext cx="1550987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10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2346913" y="4314759"/>
            <a:ext cx="1185862" cy="198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1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3952658" y="4225858"/>
            <a:ext cx="1644650" cy="207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12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5758798" y="4225859"/>
            <a:ext cx="1739900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13"/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7865672" y="3903596"/>
            <a:ext cx="1020762" cy="239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14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9018414" y="3916296"/>
            <a:ext cx="577850" cy="238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1106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80987" y="5799575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M Characte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pic>
        <p:nvPicPr>
          <p:cNvPr id="22" name="Picture 4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037267" y="1868484"/>
            <a:ext cx="750887" cy="161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5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934821" y="1925634"/>
            <a:ext cx="450850" cy="156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6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7661634" y="1973259"/>
            <a:ext cx="347663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7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8323138" y="1966910"/>
            <a:ext cx="517525" cy="151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9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016064" y="1973259"/>
            <a:ext cx="690562" cy="151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550529" y="4483775"/>
            <a:ext cx="1055688" cy="178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27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4012548" y="4585375"/>
            <a:ext cx="742950" cy="168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3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6453644" y="4291688"/>
            <a:ext cx="1114425" cy="1979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4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3011533" y="4077375"/>
            <a:ext cx="742950" cy="219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5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5106814" y="4253588"/>
            <a:ext cx="1095375" cy="201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6"/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348924" y="4509175"/>
            <a:ext cx="989012" cy="176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2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8002456" y="4955262"/>
            <a:ext cx="1878013" cy="131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3296629" y="1912934"/>
            <a:ext cx="1144587" cy="157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Picture 3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4733745" y="1808160"/>
            <a:ext cx="1044575" cy="167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992189" y="1503359"/>
            <a:ext cx="1084262" cy="198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7" name="Picture 3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264716" y="2820985"/>
            <a:ext cx="760412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Picture 4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2006203" y="1811334"/>
            <a:ext cx="1065213" cy="167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1106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M Character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pic>
        <p:nvPicPr>
          <p:cNvPr id="20" name="Picture 3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7388" y="2253456"/>
            <a:ext cx="1816100" cy="1243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4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233650" y="1424781"/>
            <a:ext cx="1484313" cy="207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5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789717" y="1512094"/>
            <a:ext cx="1025525" cy="198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010710" y="1513682"/>
            <a:ext cx="604838" cy="198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7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7728657" y="1512094"/>
            <a:ext cx="1450975" cy="198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9209040" y="1513681"/>
            <a:ext cx="603250" cy="198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9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2171494" y="4039273"/>
            <a:ext cx="854075" cy="221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10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3515628" y="4178973"/>
            <a:ext cx="498475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1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4273822" y="4178972"/>
            <a:ext cx="614363" cy="207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12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5569205" y="4178972"/>
            <a:ext cx="1049337" cy="207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13"/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6944715" y="4178973"/>
            <a:ext cx="1368425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14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8504123" y="4178973"/>
            <a:ext cx="465137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15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9202714" y="4178972"/>
            <a:ext cx="585788" cy="207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8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307981" y="1861344"/>
            <a:ext cx="1776413" cy="163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578644" y="4684969"/>
            <a:ext cx="407987" cy="156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Picture 3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1280716" y="4685343"/>
            <a:ext cx="750887" cy="156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1106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M Character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pic>
        <p:nvPicPr>
          <p:cNvPr id="24" name="Picture 4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987409" y="1852623"/>
            <a:ext cx="1033462" cy="166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5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881693" y="2181236"/>
            <a:ext cx="828675" cy="133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6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384017" y="1852623"/>
            <a:ext cx="971550" cy="166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7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518748" y="2387611"/>
            <a:ext cx="828675" cy="113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8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222316" y="1858973"/>
            <a:ext cx="1036637" cy="165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863677" y="1847861"/>
            <a:ext cx="885825" cy="167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10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59413" y="4043689"/>
            <a:ext cx="723900" cy="221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11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2434030" y="4147724"/>
            <a:ext cx="627062" cy="207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12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3923387" y="4236624"/>
            <a:ext cx="695325" cy="198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13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5163551" y="4235037"/>
            <a:ext cx="665163" cy="198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14"/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4457091" y="4482687"/>
            <a:ext cx="82867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Picture 15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6484002" y="4550950"/>
            <a:ext cx="1017588" cy="166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Picture 16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7467361" y="4898612"/>
            <a:ext cx="828675" cy="132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7" name="Picture 17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8181432" y="4541424"/>
            <a:ext cx="965200" cy="167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Picture 18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1759646" y="4652549"/>
            <a:ext cx="828675" cy="156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" name="Picture 2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431388" y="1445299"/>
            <a:ext cx="2305050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" name="Picture 3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2665500" y="1800899"/>
            <a:ext cx="931862" cy="171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1106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M Character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71133" y="1521494"/>
            <a:ext cx="2251075" cy="198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814869" y="1391319"/>
            <a:ext cx="2251075" cy="211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4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6893947" y="1329407"/>
            <a:ext cx="2251075" cy="217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71133" y="4055977"/>
            <a:ext cx="2251075" cy="209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6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814869" y="4055977"/>
            <a:ext cx="2251075" cy="209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7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893947" y="4055977"/>
            <a:ext cx="2251075" cy="209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1106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891" y="5799575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80987" y="5802738"/>
            <a:ext cx="9227550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276045" y="5041348"/>
            <a:ext cx="924731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25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vmlDrawing" Target="../drawings/vmlDrawing24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oleObject" Target="../embeddings/oleObject2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oleObject" Target="../embeddings/oleObject43.bin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4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vmlDrawing" Target="../drawings/vmlDrawing43.vml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oleObject" Target="../embeddings/oleObject57.bin"/><Relationship Id="rId5" Type="http://schemas.openxmlformats.org/officeDocument/2006/relationships/tags" Target="../tags/tag58.xml"/><Relationship Id="rId4" Type="http://schemas.openxmlformats.org/officeDocument/2006/relationships/vmlDrawing" Target="../drawings/vmlDrawing57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59.xml"/><Relationship Id="rId7" Type="http://schemas.openxmlformats.org/officeDocument/2006/relationships/theme" Target="../theme/theme6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1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60.xml"/><Relationship Id="rId9" Type="http://schemas.openxmlformats.org/officeDocument/2006/relationships/tags" Target="../tags/tag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65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heme" Target="../theme/theme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6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6.xml"/><Relationship Id="rId9" Type="http://schemas.openxmlformats.org/officeDocument/2006/relationships/oleObject" Target="../embeddings/oleObject66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2.vml"/><Relationship Id="rId7" Type="http://schemas.openxmlformats.org/officeDocument/2006/relationships/image" Target="../media/image2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tags" Target="../tags/tag7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slideLayout" Target="../slideLayouts/slideLayout71.xml"/><Relationship Id="rId7" Type="http://schemas.openxmlformats.org/officeDocument/2006/relationships/vmlDrawing" Target="../drawings/vmlDrawing74.v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9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7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2.xml"/><Relationship Id="rId9" Type="http://schemas.openxmlformats.org/officeDocument/2006/relationships/oleObject" Target="../embeddings/oleObject7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0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2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64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743" r:id="rId8"/>
    <p:sldLayoutId id="2147483694" r:id="rId9"/>
    <p:sldLayoutId id="2147483695" r:id="rId10"/>
    <p:sldLayoutId id="2147483697" r:id="rId11"/>
    <p:sldLayoutId id="214748392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646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3698" r:id="rId3"/>
    <p:sldLayoutId id="2147483699" r:id="rId4"/>
    <p:sldLayoutId id="2147483700" r:id="rId5"/>
    <p:sldLayoutId id="2147483739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31" name="think-cell Slide" r:id="rId17" imgW="6350000" imgH="6350000" progId="">
                  <p:embed/>
                </p:oleObj>
              </mc:Choice>
              <mc:Fallback>
                <p:oleObj name="think-cell Slide" r:id="rId1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14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414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6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8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255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7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" t="15051" r="51983" b="10712"/>
          <a:stretch/>
        </p:blipFill>
        <p:spPr bwMode="auto">
          <a:xfrm>
            <a:off x="5733387" y="1435723"/>
            <a:ext cx="3836078" cy="2657073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1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5039" y="274413"/>
            <a:ext cx="9308541" cy="409568"/>
          </a:xfrm>
        </p:spPr>
        <p:txBody>
          <a:bodyPr/>
          <a:lstStyle/>
          <a:p>
            <a:r>
              <a:rPr lang="en-GB" dirty="0" smtClean="0"/>
              <a:t>VIRGIN </a:t>
            </a:r>
            <a:r>
              <a:rPr lang="en-GB" dirty="0" smtClean="0"/>
              <a:t>trains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95039" y="702446"/>
            <a:ext cx="9328120" cy="237225"/>
          </a:xfrm>
        </p:spPr>
        <p:txBody>
          <a:bodyPr/>
          <a:lstStyle/>
          <a:p>
            <a:r>
              <a:rPr lang="en-GB" dirty="0" smtClean="0"/>
              <a:t>Arrive </a:t>
            </a:r>
            <a:r>
              <a:rPr lang="en-GB" dirty="0" smtClean="0"/>
              <a:t>Awesom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63883" y="1650544"/>
            <a:ext cx="5015174" cy="500443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en-GB" sz="1800" dirty="0" smtClean="0">
                <a:solidFill>
                  <a:schemeClr val="accent2"/>
                </a:solidFill>
              </a:rPr>
              <a:t>Background</a:t>
            </a:r>
            <a:endParaRPr lang="en-GB" sz="1800" b="0" dirty="0"/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b="0" dirty="0" smtClean="0"/>
              <a:t>Despite the Virgin Group as a whole being a keen advertiser in cinema, Virgin Trains remained elusive to the big screen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b="0" dirty="0" smtClean="0"/>
              <a:t>The geographically specific nature of their business meant that a regional campaign would never effectively target the areas around their stations, and a national campaign would result in a lot of wastage.</a:t>
            </a:r>
            <a:endParaRPr lang="en-GB" sz="1200" b="0" dirty="0"/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</a:pPr>
            <a:endParaRPr lang="en-GB" sz="1200" dirty="0" smtClean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</a:pPr>
            <a:endParaRPr lang="en-GB" sz="1200" dirty="0" smtClean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buClr>
                <a:schemeClr val="accent2"/>
              </a:buClr>
            </a:pPr>
            <a:r>
              <a:rPr lang="en-GB" sz="1800" dirty="0" smtClean="0">
                <a:solidFill>
                  <a:schemeClr val="accent2"/>
                </a:solidFill>
              </a:rPr>
              <a:t>How Cinema Helped</a:t>
            </a:r>
            <a:endParaRPr lang="en-GB" sz="1800" dirty="0" smtClean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buClr>
                <a:schemeClr val="accent2"/>
              </a:buClr>
            </a:pPr>
            <a:endParaRPr lang="en-GB" sz="1200" b="0" dirty="0" smtClean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b="0" dirty="0" smtClean="0">
                <a:solidFill>
                  <a:schemeClr val="bg1"/>
                </a:solidFill>
              </a:rPr>
              <a:t>Using Cinemapper, we were able to easily identify the sites they needed to reach their core audience around their train stations</a:t>
            </a:r>
          </a:p>
          <a:p>
            <a:pPr marL="171450" indent="-171450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200" b="0" dirty="0" smtClean="0">
                <a:solidFill>
                  <a:schemeClr val="bg1"/>
                </a:solidFill>
              </a:rPr>
              <a:t>We mapped a 20 minute drive time from 38 train stations, which resulted in them showing in 133 DCM cinemas across the country and being seen by over one million people a week</a:t>
            </a: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200" b="0" dirty="0" smtClean="0">
              <a:solidFill>
                <a:schemeClr val="bg1"/>
              </a:solidFill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936717"/>
              </p:ext>
            </p:extLst>
          </p:nvPr>
        </p:nvGraphicFramePr>
        <p:xfrm>
          <a:off x="5704626" y="5056277"/>
          <a:ext cx="3864839" cy="1082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5641"/>
                <a:gridCol w="2779198"/>
              </a:tblGrid>
              <a:tr h="2977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ackage</a:t>
                      </a:r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900" b="0" baseline="0" dirty="0" smtClean="0">
                          <a:solidFill>
                            <a:schemeClr val="bg1"/>
                          </a:solidFill>
                        </a:rPr>
                        <a:t>Site by Site (133 Cinemas Nationwide)</a:t>
                      </a:r>
                      <a:endParaRPr lang="en-US" sz="900" b="0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362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Creative Agency</a:t>
                      </a:r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900" b="0" dirty="0" err="1" smtClean="0">
                          <a:solidFill>
                            <a:schemeClr val="bg1"/>
                          </a:solidFill>
                        </a:rPr>
                        <a:t>Krow</a:t>
                      </a:r>
                      <a:r>
                        <a:rPr lang="en-GB" sz="900" b="0" dirty="0" smtClean="0">
                          <a:solidFill>
                            <a:schemeClr val="bg1"/>
                          </a:solidFill>
                        </a:rPr>
                        <a:t> Communications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362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How Targeted</a:t>
                      </a:r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Mapped from Virgin</a:t>
                      </a:r>
                      <a:r>
                        <a:rPr lang="en-US" sz="900" b="0" baseline="0" dirty="0" smtClean="0">
                          <a:solidFill>
                            <a:schemeClr val="bg1"/>
                          </a:solidFill>
                        </a:rPr>
                        <a:t> Train Stations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72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Sector</a:t>
                      </a:r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Travel and</a:t>
                      </a:r>
                      <a:r>
                        <a:rPr lang="en-US" sz="900" b="0" baseline="0" dirty="0" smtClean="0">
                          <a:solidFill>
                            <a:schemeClr val="bg1"/>
                          </a:solidFill>
                        </a:rPr>
                        <a:t> Tourism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9" name="Rectangle 18"/>
          <p:cNvSpPr/>
          <p:nvPr/>
        </p:nvSpPr>
        <p:spPr>
          <a:xfrm>
            <a:off x="5625133" y="4604416"/>
            <a:ext cx="21383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450"/>
              </a:spcBef>
            </a:pPr>
            <a:r>
              <a:rPr lang="en-GB" sz="1800" b="1" dirty="0">
                <a:solidFill>
                  <a:schemeClr val="accent2"/>
                </a:solidFill>
              </a:rPr>
              <a:t>Campaign Details</a:t>
            </a:r>
          </a:p>
        </p:txBody>
      </p:sp>
      <p:sp>
        <p:nvSpPr>
          <p:cNvPr id="20" name="Freeform 253"/>
          <p:cNvSpPr>
            <a:spLocks noEditPoints="1"/>
          </p:cNvSpPr>
          <p:nvPr/>
        </p:nvSpPr>
        <p:spPr bwMode="auto">
          <a:xfrm>
            <a:off x="195039" y="1042397"/>
            <a:ext cx="450000" cy="450000"/>
          </a:xfrm>
          <a:custGeom>
            <a:avLst/>
            <a:gdLst/>
            <a:ahLst/>
            <a:cxnLst>
              <a:cxn ang="0">
                <a:pos x="256" y="16"/>
              </a:cxn>
              <a:cxn ang="0">
                <a:pos x="106" y="106"/>
              </a:cxn>
              <a:cxn ang="0">
                <a:pos x="16" y="254"/>
              </a:cxn>
              <a:cxn ang="0">
                <a:pos x="2" y="400"/>
              </a:cxn>
              <a:cxn ang="0">
                <a:pos x="62" y="566"/>
              </a:cxn>
              <a:cxn ang="0">
                <a:pos x="190" y="682"/>
              </a:cxn>
              <a:cxn ang="0">
                <a:pos x="364" y="726"/>
              </a:cxn>
              <a:cxn ang="0">
                <a:pos x="504" y="698"/>
              </a:cxn>
              <a:cxn ang="0">
                <a:pos x="644" y="594"/>
              </a:cxn>
              <a:cxn ang="0">
                <a:pos x="718" y="436"/>
              </a:cxn>
              <a:cxn ang="0">
                <a:pos x="718" y="290"/>
              </a:cxn>
              <a:cxn ang="0">
                <a:pos x="644" y="132"/>
              </a:cxn>
              <a:cxn ang="0">
                <a:pos x="504" y="28"/>
              </a:cxn>
              <a:cxn ang="0">
                <a:pos x="558" y="206"/>
              </a:cxn>
              <a:cxn ang="0">
                <a:pos x="566" y="234"/>
              </a:cxn>
              <a:cxn ang="0">
                <a:pos x="576" y="244"/>
              </a:cxn>
              <a:cxn ang="0">
                <a:pos x="590" y="278"/>
              </a:cxn>
              <a:cxn ang="0">
                <a:pos x="564" y="268"/>
              </a:cxn>
              <a:cxn ang="0">
                <a:pos x="532" y="220"/>
              </a:cxn>
              <a:cxn ang="0">
                <a:pos x="124" y="206"/>
              </a:cxn>
              <a:cxn ang="0">
                <a:pos x="150" y="224"/>
              </a:cxn>
              <a:cxn ang="0">
                <a:pos x="124" y="238"/>
              </a:cxn>
              <a:cxn ang="0">
                <a:pos x="124" y="252"/>
              </a:cxn>
              <a:cxn ang="0">
                <a:pos x="160" y="234"/>
              </a:cxn>
              <a:cxn ang="0">
                <a:pos x="196" y="206"/>
              </a:cxn>
              <a:cxn ang="0">
                <a:pos x="192" y="234"/>
              </a:cxn>
              <a:cxn ang="0">
                <a:pos x="150" y="274"/>
              </a:cxn>
              <a:cxn ang="0">
                <a:pos x="604" y="428"/>
              </a:cxn>
              <a:cxn ang="0">
                <a:pos x="578" y="336"/>
              </a:cxn>
              <a:cxn ang="0">
                <a:pos x="576" y="370"/>
              </a:cxn>
              <a:cxn ang="0">
                <a:pos x="586" y="414"/>
              </a:cxn>
              <a:cxn ang="0">
                <a:pos x="604" y="502"/>
              </a:cxn>
              <a:cxn ang="0">
                <a:pos x="576" y="464"/>
              </a:cxn>
              <a:cxn ang="0">
                <a:pos x="550" y="366"/>
              </a:cxn>
              <a:cxn ang="0">
                <a:pos x="562" y="470"/>
              </a:cxn>
              <a:cxn ang="0">
                <a:pos x="134" y="520"/>
              </a:cxn>
              <a:cxn ang="0">
                <a:pos x="164" y="470"/>
              </a:cxn>
              <a:cxn ang="0">
                <a:pos x="178" y="366"/>
              </a:cxn>
              <a:cxn ang="0">
                <a:pos x="150" y="464"/>
              </a:cxn>
              <a:cxn ang="0">
                <a:pos x="124" y="456"/>
              </a:cxn>
              <a:cxn ang="0">
                <a:pos x="150" y="370"/>
              </a:cxn>
              <a:cxn ang="0">
                <a:pos x="150" y="336"/>
              </a:cxn>
              <a:cxn ang="0">
                <a:pos x="124" y="428"/>
              </a:cxn>
              <a:cxn ang="0">
                <a:pos x="148" y="290"/>
              </a:cxn>
              <a:cxn ang="0">
                <a:pos x="150" y="290"/>
              </a:cxn>
              <a:cxn ang="0">
                <a:pos x="184" y="268"/>
              </a:cxn>
              <a:cxn ang="0">
                <a:pos x="210" y="220"/>
              </a:cxn>
              <a:cxn ang="0">
                <a:pos x="238" y="206"/>
              </a:cxn>
              <a:cxn ang="0">
                <a:pos x="516" y="206"/>
              </a:cxn>
              <a:cxn ang="0">
                <a:pos x="526" y="246"/>
              </a:cxn>
              <a:cxn ang="0">
                <a:pos x="562" y="282"/>
              </a:cxn>
              <a:cxn ang="0">
                <a:pos x="576" y="290"/>
              </a:cxn>
              <a:cxn ang="0">
                <a:pos x="588" y="292"/>
              </a:cxn>
              <a:cxn ang="0">
                <a:pos x="604" y="320"/>
              </a:cxn>
              <a:cxn ang="0">
                <a:pos x="592" y="236"/>
              </a:cxn>
              <a:cxn ang="0">
                <a:pos x="572" y="212"/>
              </a:cxn>
              <a:cxn ang="0">
                <a:pos x="540" y="302"/>
              </a:cxn>
              <a:cxn ang="0">
                <a:pos x="234" y="234"/>
              </a:cxn>
              <a:cxn ang="0">
                <a:pos x="186" y="302"/>
              </a:cxn>
              <a:cxn ang="0">
                <a:pos x="206" y="394"/>
              </a:cxn>
              <a:cxn ang="0">
                <a:pos x="184" y="492"/>
              </a:cxn>
              <a:cxn ang="0">
                <a:pos x="522" y="420"/>
              </a:cxn>
              <a:cxn ang="0">
                <a:pos x="532" y="32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30" y="206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70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8" y="336"/>
                </a:lnTo>
                <a:lnTo>
                  <a:pt x="576" y="344"/>
                </a:lnTo>
                <a:lnTo>
                  <a:pt x="576" y="344"/>
                </a:lnTo>
                <a:lnTo>
                  <a:pt x="576" y="344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456"/>
                </a:lnTo>
                <a:lnTo>
                  <a:pt x="604" y="502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50" y="366"/>
                </a:lnTo>
                <a:lnTo>
                  <a:pt x="548" y="394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80" y="394"/>
                </a:lnTo>
                <a:lnTo>
                  <a:pt x="178" y="366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70"/>
                </a:lnTo>
                <a:lnTo>
                  <a:pt x="150" y="356"/>
                </a:lnTo>
                <a:lnTo>
                  <a:pt x="150" y="356"/>
                </a:lnTo>
                <a:lnTo>
                  <a:pt x="150" y="344"/>
                </a:lnTo>
                <a:lnTo>
                  <a:pt x="150" y="344"/>
                </a:lnTo>
                <a:lnTo>
                  <a:pt x="150" y="336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24" y="294"/>
                </a:lnTo>
                <a:lnTo>
                  <a:pt x="140" y="292"/>
                </a:lnTo>
                <a:lnTo>
                  <a:pt x="140" y="292"/>
                </a:lnTo>
                <a:lnTo>
                  <a:pt x="148" y="290"/>
                </a:lnTo>
                <a:lnTo>
                  <a:pt x="148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66" y="282"/>
                </a:lnTo>
                <a:lnTo>
                  <a:pt x="166" y="282"/>
                </a:lnTo>
                <a:lnTo>
                  <a:pt x="174" y="278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10" y="206"/>
                </a:lnTo>
                <a:lnTo>
                  <a:pt x="210" y="206"/>
                </a:lnTo>
                <a:lnTo>
                  <a:pt x="238" y="206"/>
                </a:lnTo>
                <a:lnTo>
                  <a:pt x="238" y="206"/>
                </a:lnTo>
                <a:lnTo>
                  <a:pt x="490" y="206"/>
                </a:lnTo>
                <a:lnTo>
                  <a:pt x="490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54" y="278"/>
                </a:lnTo>
                <a:lnTo>
                  <a:pt x="562" y="282"/>
                </a:lnTo>
                <a:lnTo>
                  <a:pt x="562" y="282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8" y="290"/>
                </a:lnTo>
                <a:lnTo>
                  <a:pt x="578" y="290"/>
                </a:lnTo>
                <a:lnTo>
                  <a:pt x="580" y="290"/>
                </a:lnTo>
                <a:lnTo>
                  <a:pt x="580" y="290"/>
                </a:lnTo>
                <a:lnTo>
                  <a:pt x="588" y="292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320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68587" tIns="34294" rIns="68587" bIns="34294" numCol="1" anchor="t" anchorCtr="0" compatLnSpc="1">
            <a:prstTxWarp prst="textNoShape">
              <a:avLst/>
            </a:prstTxWarp>
          </a:bodyPr>
          <a:lstStyle/>
          <a:p>
            <a:endParaRPr lang="en-GB" sz="1425">
              <a:solidFill>
                <a:srgbClr val="00BFD6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733387" y="4152763"/>
            <a:ext cx="3836078" cy="369124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425" dirty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rot="2162226">
            <a:off x="7780142" y="357777"/>
            <a:ext cx="3021467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FFFFFF"/>
                </a:solidFill>
              </a:rPr>
              <a:t>CINEMA DELIVERS:</a:t>
            </a:r>
          </a:p>
          <a:p>
            <a:pPr algn="ctr"/>
            <a:r>
              <a:rPr lang="en-GB" sz="1200" b="1" dirty="0" smtClean="0">
                <a:solidFill>
                  <a:srgbClr val="FFFFFF"/>
                </a:solidFill>
              </a:rPr>
              <a:t>EFFECTIVE TARGETING</a:t>
            </a:r>
            <a:endParaRPr lang="en-GB" sz="1200" b="1" dirty="0" smtClean="0">
              <a:solidFill>
                <a:srgbClr val="FFFFFF"/>
              </a:solidFill>
            </a:endParaRPr>
          </a:p>
        </p:txBody>
      </p:sp>
      <p:sp>
        <p:nvSpPr>
          <p:cNvPr id="23" name="Freeform 159"/>
          <p:cNvSpPr>
            <a:spLocks noEditPoints="1"/>
          </p:cNvSpPr>
          <p:nvPr/>
        </p:nvSpPr>
        <p:spPr bwMode="auto">
          <a:xfrm>
            <a:off x="781511" y="1051868"/>
            <a:ext cx="451779" cy="440529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543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AE536128-A668-49E7-8A7E-B50DB962DF19}"/>
    </a:ext>
  </a:extLst>
</a:theme>
</file>

<file path=ppt/theme/theme10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BA0E8F7D-6863-4C37-8B11-2C60C38907E4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7A7ADBEC-4463-43D8-9BC2-3E62DBD8E287}"/>
    </a:ext>
  </a:extLst>
</a:theme>
</file>

<file path=ppt/theme/theme4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C137D5B7-313A-4555-BC00-D5697FC95203}"/>
    </a:ext>
  </a:extLst>
</a:theme>
</file>

<file path=ppt/theme/theme5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21660B9D-9D08-4250-A914-CAA478324B27}"/>
    </a:ext>
  </a:extLst>
</a:theme>
</file>

<file path=ppt/theme/theme6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804EC581-456A-4A1F-AA18-0FC386569F77}"/>
    </a:ext>
  </a:extLst>
</a:theme>
</file>

<file path=ppt/theme/theme7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16BDBD23-5FBD-409D-8D18-623333821BBA}"/>
    </a:ext>
  </a:extLst>
</a:theme>
</file>

<file path=ppt/theme/theme8.xml><?xml version="1.0" encoding="utf-8"?>
<a:theme xmlns:a="http://schemas.openxmlformats.org/drawingml/2006/main" name="Thank You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19E19CEF-FCBB-428B-A80B-B2EB2DD11C1E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" id="{9898C4CC-A69D-4092-AB8D-20C572660F72}" vid="{9EA16368-129E-42EB-9B28-CBB71B30DD1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1</Words>
  <Application>Microsoft Office PowerPoint</Application>
  <PresentationFormat>Custom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Image Slides</vt:lpstr>
      <vt:lpstr>Co-branding Slides</vt:lpstr>
      <vt:lpstr>Video Slides</vt:lpstr>
      <vt:lpstr>Charts and Graphs Slides</vt:lpstr>
      <vt:lpstr>Thank You Slides</vt:lpstr>
      <vt:lpstr>Appendix Slides</vt:lpstr>
      <vt:lpstr>think-cell Slide</vt:lpstr>
      <vt:lpstr>VIRGIN trains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6-07T09:39:46Z</dcterms:created>
  <dcterms:modified xsi:type="dcterms:W3CDTF">2017-01-06T16:29:5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